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A8A8A8"/>
    <a:srgbClr val="F6F6F6"/>
    <a:srgbClr val="C60018"/>
    <a:srgbClr val="767676"/>
    <a:srgbClr val="0079C7"/>
    <a:srgbClr val="E5E5E5"/>
    <a:srgbClr val="8D8D8D"/>
    <a:srgbClr val="5A5A5A"/>
    <a:srgbClr val="44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803E6041-6476-48B8-9309-C956451AB41F}"/>
    <pc:docChg chg="modSld">
      <pc:chgData name="Weigel Stefan (PAR-EPS)" userId="fd3b2067-2981-4ad8-bf3a-d2e1004e4fa8" providerId="ADAL" clId="{803E6041-6476-48B8-9309-C956451AB41F}" dt="2025-02-21T09:00:58.928" v="37" actId="27918"/>
      <pc:docMkLst>
        <pc:docMk/>
      </pc:docMkLst>
      <pc:sldChg chg="modSp mod">
        <pc:chgData name="Weigel Stefan (PAR-EPS)" userId="fd3b2067-2981-4ad8-bf3a-d2e1004e4fa8" providerId="ADAL" clId="{803E6041-6476-48B8-9309-C956451AB41F}" dt="2025-02-21T09:00:58.928" v="37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803E6041-6476-48B8-9309-C956451AB41F}" dt="2025-02-21T08:55:09.686" v="35" actId="20577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803E6041-6476-48B8-9309-C956451AB41F}" dt="2025-02-21T08:54:31.561" v="33" actId="1076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BACCF7EA-6D1A-4DFA-98C0-DCCDA60D5535}"/>
    <pc:docChg chg="delSld">
      <pc:chgData name="Meyer Raphael (PAR-ES)" userId="79615dfe-ed48-4e74-a40f-4f7b034c1c27" providerId="ADAL" clId="{BACCF7EA-6D1A-4DFA-98C0-DCCDA60D5535}" dt="2022-02-21T09:43:26.757" v="0" actId="47"/>
      <pc:docMkLst>
        <pc:docMk/>
      </pc:docMkLst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532680153" sldId="278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317092251" sldId="279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900719995" sldId="280"/>
        </pc:sldMkLst>
      </pc:sldChg>
    </pc:docChg>
  </pc:docChgLst>
  <pc:docChgLst>
    <pc:chgData name="Weigel Stefan (PAR-EPS)" userId="fd3b2067-2981-4ad8-bf3a-d2e1004e4fa8" providerId="ADAL" clId="{59A3AA6B-0319-463A-8782-A83ADFFB7DF3}"/>
    <pc:docChg chg="modSld">
      <pc:chgData name="Weigel Stefan (PAR-EPS)" userId="fd3b2067-2981-4ad8-bf3a-d2e1004e4fa8" providerId="ADAL" clId="{59A3AA6B-0319-463A-8782-A83ADFFB7DF3}" dt="2024-02-28T07:34:31.251" v="56" actId="27918"/>
      <pc:docMkLst>
        <pc:docMk/>
      </pc:docMkLst>
      <pc:sldChg chg="modSp mod">
        <pc:chgData name="Weigel Stefan (PAR-EPS)" userId="fd3b2067-2981-4ad8-bf3a-d2e1004e4fa8" providerId="ADAL" clId="{59A3AA6B-0319-463A-8782-A83ADFFB7DF3}" dt="2024-02-28T07:34:31.251" v="56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59A3AA6B-0319-463A-8782-A83ADFFB7DF3}" dt="2024-02-28T07:34:22.255" v="52" actId="20577"/>
          <ac:spMkLst>
            <pc:docMk/>
            <pc:sldMk cId="3332483854" sldId="274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59A3AA6B-0319-463A-8782-A83ADFFB7DF3}" dt="2024-02-28T07:22:26.871" v="4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Weigel Stefan (PAR-EPS)" userId="fd3b2067-2981-4ad8-bf3a-d2e1004e4fa8" providerId="ADAL" clId="{BF8BB13B-A638-4322-8DE3-DE61FCD58A3E}"/>
    <pc:docChg chg="modSld">
      <pc:chgData name="Weigel Stefan (PAR-EPS)" userId="fd3b2067-2981-4ad8-bf3a-d2e1004e4fa8" providerId="ADAL" clId="{BF8BB13B-A638-4322-8DE3-DE61FCD58A3E}" dt="2024-04-08T13:42:11.812" v="12" actId="27918"/>
      <pc:docMkLst>
        <pc:docMk/>
      </pc:docMkLst>
      <pc:sldChg chg="modSp mod">
        <pc:chgData name="Weigel Stefan (PAR-EPS)" userId="fd3b2067-2981-4ad8-bf3a-d2e1004e4fa8" providerId="ADAL" clId="{BF8BB13B-A638-4322-8DE3-DE61FCD58A3E}" dt="2024-04-08T13:42:11.812" v="12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BF8BB13B-A638-4322-8DE3-DE61FCD58A3E}" dt="2024-04-08T13:38:59.154" v="8" actId="1036"/>
          <ac:spMkLst>
            <pc:docMk/>
            <pc:sldMk cId="3332483854" sldId="274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BF8BB13B-A638-4322-8DE3-DE61FCD58A3E}" dt="2024-04-08T13:38:59.154" v="8" actId="1036"/>
          <ac:spMkLst>
            <pc:docMk/>
            <pc:sldMk cId="3332483854" sldId="274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BF8BB13B-A638-4322-8DE3-DE61FCD58A3E}" dt="2024-04-08T13:42:09.283" v="11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Meyer Raphael (PAR-ES)" userId="79615dfe-ed48-4e74-a40f-4f7b034c1c27" providerId="ADAL" clId="{5FAB783E-7480-47CB-B877-7B5DFEF79DF0}"/>
    <pc:docChg chg="modSld">
      <pc:chgData name="Meyer Raphael (PAR-ES)" userId="79615dfe-ed48-4e74-a40f-4f7b034c1c27" providerId="ADAL" clId="{5FAB783E-7480-47CB-B877-7B5DFEF79DF0}" dt="2023-02-22T09:44:29.321" v="15" actId="27918"/>
      <pc:docMkLst>
        <pc:docMk/>
      </pc:docMkLst>
      <pc:sldChg chg="mod">
        <pc:chgData name="Meyer Raphael (PAR-ES)" userId="79615dfe-ed48-4e74-a40f-4f7b034c1c27" providerId="ADAL" clId="{5FAB783E-7480-47CB-B877-7B5DFEF79DF0}" dt="2023-02-22T09:44:29.321" v="15" actId="27918"/>
        <pc:sldMkLst>
          <pc:docMk/>
          <pc:sldMk cId="3332483854" sldId="274"/>
        </pc:sldMkLst>
      </pc:sldChg>
    </pc:docChg>
  </pc:docChgLst>
  <pc:docChgLst>
    <pc:chgData name="Meyer Raphael (PAR-ES)" userId="79615dfe-ed48-4e74-a40f-4f7b034c1c27" providerId="ADAL" clId="{AC29F3FC-CCDB-460B-86CA-8C9818AB5ACD}"/>
    <pc:docChg chg="delSld modSld">
      <pc:chgData name="Meyer Raphael (PAR-ES)" userId="79615dfe-ed48-4e74-a40f-4f7b034c1c27" providerId="ADAL" clId="{AC29F3FC-CCDB-460B-86CA-8C9818AB5ACD}" dt="2021-11-18T09:46:43.261" v="10"/>
      <pc:docMkLst>
        <pc:docMk/>
      </pc:docMkLst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29F3FC-CCDB-460B-86CA-8C9818AB5ACD}" dt="2021-11-18T09:45:11.840" v="0" actId="47"/>
        <pc:sldMkLst>
          <pc:docMk/>
          <pc:sldMk cId="2641487227" sldId="271"/>
        </pc:sldMkLst>
      </pc:sldChg>
      <pc:sldChg chg="modSp">
        <pc:chgData name="Meyer Raphael (PAR-ES)" userId="79615dfe-ed48-4e74-a40f-4f7b034c1c27" providerId="ADAL" clId="{AC29F3FC-CCDB-460B-86CA-8C9818AB5ACD}" dt="2021-11-18T09:46:43.261" v="10"/>
        <pc:sldMkLst>
          <pc:docMk/>
          <pc:sldMk cId="3332483854" sldId="274"/>
        </pc:sldMkLst>
        <pc:graphicFrameChg chg="mod">
          <ac:chgData name="Meyer Raphael (PAR-ES)" userId="79615dfe-ed48-4e74-a40f-4f7b034c1c27" providerId="ADAL" clId="{AC29F3FC-CCDB-460B-86CA-8C9818AB5ACD}" dt="2021-11-18T09:46:43.261" v="10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184604335" sldId="278"/>
        </pc:sldMkLst>
      </pc:sldChg>
    </pc:docChg>
  </pc:docChgLst>
  <pc:docChgLst>
    <pc:chgData name="Meyer Raphael (PAR-ES)" userId="79615dfe-ed48-4e74-a40f-4f7b034c1c27" providerId="ADAL" clId="{1FC5616B-2F12-4446-BDCA-AA1385573C6A}"/>
    <pc:docChg chg="undo custSel addSld delSld modSld">
      <pc:chgData name="Meyer Raphael (PAR-ES)" userId="79615dfe-ed48-4e74-a40f-4f7b034c1c27" providerId="ADAL" clId="{1FC5616B-2F12-4446-BDCA-AA1385573C6A}" dt="2022-02-21T09:32:57.878" v="166" actId="47"/>
      <pc:docMkLst>
        <pc:docMk/>
      </pc:docMkLst>
      <pc:sldChg chg="delSp mod">
        <pc:chgData name="Meyer Raphael (PAR-ES)" userId="79615dfe-ed48-4e74-a40f-4f7b034c1c27" providerId="ADAL" clId="{1FC5616B-2F12-4446-BDCA-AA1385573C6A}" dt="2022-02-21T09:15:50.176" v="94" actId="478"/>
        <pc:sldMkLst>
          <pc:docMk/>
          <pc:sldMk cId="3332483854" sldId="274"/>
        </pc:sldMkLst>
        <pc:spChg chg="del">
          <ac:chgData name="Meyer Raphael (PAR-ES)" userId="79615dfe-ed48-4e74-a40f-4f7b034c1c27" providerId="ADAL" clId="{1FC5616B-2F12-4446-BDCA-AA1385573C6A}" dt="2022-02-21T09:15:50.176" v="94" actId="478"/>
          <ac:spMkLst>
            <pc:docMk/>
            <pc:sldMk cId="3332483854" sldId="274"/>
            <ac:spMk id="11" creationId="{05BCB7A5-C388-4E07-9136-6233CDBC3CCF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19:53.101" v="102" actId="47"/>
        <pc:sldMkLst>
          <pc:docMk/>
          <pc:sldMk cId="3581959627" sldId="275"/>
        </pc:sldMkLst>
        <pc:spChg chg="mod">
          <ac:chgData name="Meyer Raphael (PAR-ES)" userId="79615dfe-ed48-4e74-a40f-4f7b034c1c27" providerId="ADAL" clId="{1FC5616B-2F12-4446-BDCA-AA1385573C6A}" dt="2022-02-21T08:54:26.924" v="3"/>
          <ac:spMkLst>
            <pc:docMk/>
            <pc:sldMk cId="3581959627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8:54:40.784" v="4"/>
          <ac:spMkLst>
            <pc:docMk/>
            <pc:sldMk cId="3581959627" sldId="275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8:55:01.272" v="6" actId="14100"/>
          <ac:spMkLst>
            <pc:docMk/>
            <pc:sldMk cId="3581959627" sldId="275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1:50.541" v="137" actId="47"/>
        <pc:sldMkLst>
          <pc:docMk/>
          <pc:sldMk cId="2160443220" sldId="276"/>
        </pc:sldMkLst>
        <pc:spChg chg="mod">
          <ac:chgData name="Meyer Raphael (PAR-ES)" userId="79615dfe-ed48-4e74-a40f-4f7b034c1c27" providerId="ADAL" clId="{1FC5616B-2F12-4446-BDCA-AA1385573C6A}" dt="2022-02-21T09:06:34.339" v="7"/>
          <ac:spMkLst>
            <pc:docMk/>
            <pc:sldMk cId="2160443220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1.593" v="36" actId="20577"/>
          <ac:spMkLst>
            <pc:docMk/>
            <pc:sldMk cId="2160443220" sldId="276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6:45.304" v="8"/>
          <ac:spMkLst>
            <pc:docMk/>
            <pc:sldMk cId="2160443220" sldId="276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7:36.657" v="30" actId="1035"/>
          <ac:spMkLst>
            <pc:docMk/>
            <pc:sldMk cId="2160443220" sldId="276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2:57.878" v="166" actId="47"/>
        <pc:sldMkLst>
          <pc:docMk/>
          <pc:sldMk cId="3000923061" sldId="277"/>
        </pc:sldMkLst>
        <pc:spChg chg="mod">
          <ac:chgData name="Meyer Raphael (PAR-ES)" userId="79615dfe-ed48-4e74-a40f-4f7b034c1c27" providerId="ADAL" clId="{1FC5616B-2F12-4446-BDCA-AA1385573C6A}" dt="2022-02-21T09:08:34.234" v="44" actId="6549"/>
          <ac:spMkLst>
            <pc:docMk/>
            <pc:sldMk cId="3000923061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8.955" v="42" actId="20577"/>
          <ac:spMkLst>
            <pc:docMk/>
            <pc:sldMk cId="3000923061" sldId="277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8:44.214" v="45"/>
          <ac:spMkLst>
            <pc:docMk/>
            <pc:sldMk cId="3000923061" sldId="277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9:04.698" v="76" actId="1035"/>
          <ac:spMkLst>
            <pc:docMk/>
            <pc:sldMk cId="3000923061" sldId="277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19:44.729" v="101" actId="14100"/>
        <pc:sldMkLst>
          <pc:docMk/>
          <pc:sldMk cId="1532680153" sldId="278"/>
        </pc:sldMkLst>
        <pc:spChg chg="mod">
          <ac:chgData name="Meyer Raphael (PAR-ES)" userId="79615dfe-ed48-4e74-a40f-4f7b034c1c27" providerId="ADAL" clId="{1FC5616B-2F12-4446-BDCA-AA1385573C6A}" dt="2022-02-21T09:19:15.933" v="98"/>
          <ac:spMkLst>
            <pc:docMk/>
            <pc:sldMk cId="1532680153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19:27.117" v="99"/>
          <ac:spMkLst>
            <pc:docMk/>
            <pc:sldMk cId="1532680153" sldId="278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19:44.729" v="101" actId="14100"/>
          <ac:spMkLst>
            <pc:docMk/>
            <pc:sldMk cId="1532680153" sldId="278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1:45.765" v="136" actId="20577"/>
        <pc:sldMkLst>
          <pc:docMk/>
          <pc:sldMk cId="1317092251" sldId="279"/>
        </pc:sldMkLst>
        <pc:spChg chg="mod">
          <ac:chgData name="Meyer Raphael (PAR-ES)" userId="79615dfe-ed48-4e74-a40f-4f7b034c1c27" providerId="ADAL" clId="{1FC5616B-2F12-4446-BDCA-AA1385573C6A}" dt="2022-02-21T09:20:02.764" v="103"/>
          <ac:spMkLst>
            <pc:docMk/>
            <pc:sldMk cId="1317092251" sldId="27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1:45.765" v="136" actId="20577"/>
          <ac:spMkLst>
            <pc:docMk/>
            <pc:sldMk cId="1317092251" sldId="279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20:11.849" v="104"/>
          <ac:spMkLst>
            <pc:docMk/>
            <pc:sldMk cId="1317092251" sldId="279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1:30.749" v="130" actId="1036"/>
          <ac:spMkLst>
            <pc:docMk/>
            <pc:sldMk cId="1317092251" sldId="279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2:45.114" v="165" actId="20577"/>
        <pc:sldMkLst>
          <pc:docMk/>
          <pc:sldMk cId="900719995" sldId="280"/>
        </pc:sldMkLst>
        <pc:spChg chg="mod">
          <ac:chgData name="Meyer Raphael (PAR-ES)" userId="79615dfe-ed48-4e74-a40f-4f7b034c1c27" providerId="ADAL" clId="{1FC5616B-2F12-4446-BDCA-AA1385573C6A}" dt="2022-02-21T09:32:09.387" v="138"/>
          <ac:spMkLst>
            <pc:docMk/>
            <pc:sldMk cId="900719995" sldId="28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2:45.114" v="165" actId="20577"/>
          <ac:spMkLst>
            <pc:docMk/>
            <pc:sldMk cId="900719995" sldId="28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32:19.890" v="139"/>
          <ac:spMkLst>
            <pc:docMk/>
            <pc:sldMk cId="900719995" sldId="280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2:35.398" v="159" actId="1035"/>
          <ac:spMkLst>
            <pc:docMk/>
            <pc:sldMk cId="900719995" sldId="28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A20013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Zürich Altstetten</c:v>
                </c:pt>
                <c:pt idx="1">
                  <c:v>St. Gallen</c:v>
                </c:pt>
                <c:pt idx="2">
                  <c:v>Aarau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69700</c:v>
                </c:pt>
                <c:pt idx="1">
                  <c:v>77400</c:v>
                </c:pt>
                <c:pt idx="2">
                  <c:v>78600</c:v>
                </c:pt>
                <c:pt idx="3">
                  <c:v>84500</c:v>
                </c:pt>
                <c:pt idx="4">
                  <c:v>113800</c:v>
                </c:pt>
                <c:pt idx="5">
                  <c:v>127900</c:v>
                </c:pt>
                <c:pt idx="6">
                  <c:v>134700</c:v>
                </c:pt>
                <c:pt idx="7">
                  <c:v>140900</c:v>
                </c:pt>
                <c:pt idx="8">
                  <c:v>145400</c:v>
                </c:pt>
                <c:pt idx="9">
                  <c:v>173100</c:v>
                </c:pt>
                <c:pt idx="10">
                  <c:v>298900</c:v>
                </c:pt>
                <c:pt idx="11">
                  <c:v>405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23</c:v>
                      </c:pt>
                    </c:strCache>
                  </c:strRef>
                </c:tx>
                <c:spPr>
                  <a:solidFill>
                    <a:srgbClr val="A8A8A8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F05A-4BFC-B039-8395A69970BE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4</c15:sqref>
                        </c15:formulaRef>
                      </c:ext>
                    </c:extLst>
                    <c:strCache>
                      <c:ptCount val="12"/>
                      <c:pt idx="0">
                        <c:v>Zürich Altstetten</c:v>
                      </c:pt>
                      <c:pt idx="1">
                        <c:v>St. Gallen</c:v>
                      </c:pt>
                      <c:pt idx="2">
                        <c:v>Aarau</c:v>
                      </c:pt>
                      <c:pt idx="3">
                        <c:v>Zürich Stadelhofen</c:v>
                      </c:pt>
                      <c:pt idx="4">
                        <c:v>Zürich Oerlikon</c:v>
                      </c:pt>
                      <c:pt idx="5">
                        <c:v>Lausanne</c:v>
                      </c:pt>
                      <c:pt idx="6">
                        <c:v>Winterthur</c:v>
                      </c:pt>
                      <c:pt idx="7">
                        <c:v>Basel SBB</c:v>
                      </c:pt>
                      <c:pt idx="8">
                        <c:v>Luzern</c:v>
                      </c:pt>
                      <c:pt idx="9">
                        <c:v>Genève</c:v>
                      </c:pt>
                      <c:pt idx="10">
                        <c:v>Bern</c:v>
                      </c:pt>
                      <c:pt idx="11">
                        <c:v>Zürich HB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67100</c:v>
                      </c:pt>
                      <c:pt idx="1">
                        <c:v>77800</c:v>
                      </c:pt>
                      <c:pt idx="2">
                        <c:v>76500</c:v>
                      </c:pt>
                      <c:pt idx="3">
                        <c:v>86800</c:v>
                      </c:pt>
                      <c:pt idx="4">
                        <c:v>113900</c:v>
                      </c:pt>
                      <c:pt idx="5">
                        <c:v>125600</c:v>
                      </c:pt>
                      <c:pt idx="6">
                        <c:v>131100</c:v>
                      </c:pt>
                      <c:pt idx="7">
                        <c:v>140400</c:v>
                      </c:pt>
                      <c:pt idx="8">
                        <c:v>144100</c:v>
                      </c:pt>
                      <c:pt idx="9">
                        <c:v>171000</c:v>
                      </c:pt>
                      <c:pt idx="10">
                        <c:v>296500</c:v>
                      </c:pt>
                      <c:pt idx="11">
                        <c:v>3990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05A-4BFC-B039-8395A69970BE}"/>
                  </c:ext>
                </c:extLst>
              </c15:ser>
            </c15:filteredBarSeries>
          </c:ext>
        </c:extLst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Bahnhofbenutzer.</a:t>
            </a:r>
            <a:br>
              <a:rPr lang="de-CH" dirty="0"/>
            </a:b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663734" y="5876925"/>
            <a:ext cx="6093843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CH" sz="1100" kern="0" dirty="0">
                <a:solidFill>
                  <a:srgbClr val="444444"/>
                </a:solidFill>
              </a:rPr>
              <a:t>Bahnhofbenutzer: Passagiere der Bahn und des ÖV, Kunden der Geschäfte im Bahnhof, Passanten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5176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1839199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CH" sz="1400" spc="30" dirty="0">
                <a:solidFill>
                  <a:schemeClr val="accent3"/>
                </a:solidFill>
              </a:rPr>
              <a:t>Durchschnittliche Anzahl Personenbewegungen pro Arbeitstag im 2024.</a:t>
            </a: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2f5c8543-cf23-4718-a3b8-32b0a91d511a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9EEE2C1-38B3-4903-9EFF-C69DB7FD33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Bahnhofbenutzer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hnhofbenutzer._x000b_</dc:title>
  <dc:creator>Meyer Raphael (KOM-PGA-VSF)</dc:creator>
  <cp:lastModifiedBy>Stefan Weigel (PAR-EPS)</cp:lastModifiedBy>
  <cp:revision>37</cp:revision>
  <dcterms:created xsi:type="dcterms:W3CDTF">2020-09-30T11:00:09Z</dcterms:created>
  <dcterms:modified xsi:type="dcterms:W3CDTF">2025-02-24T12:5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